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52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73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E34ED0-E78B-49CB-B4CA-A98EE43D859C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D033B6-DEA0-4CCE-BFAF-E1EA156F536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26687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91590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196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3153653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610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964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2682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471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429378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graphicFrame>
        <p:nvGraphicFramePr>
          <p:cNvPr id="3" name="Tabelle 5">
            <a:extLst>
              <a:ext uri="{FF2B5EF4-FFF2-40B4-BE49-F238E27FC236}">
                <a16:creationId xmlns:a16="http://schemas.microsoft.com/office/drawing/2014/main" id="{C35C2F70-9A05-33B4-BDAF-C228B49EE55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5894570"/>
              </p:ext>
            </p:extLst>
          </p:nvPr>
        </p:nvGraphicFramePr>
        <p:xfrm>
          <a:off x="417095" y="1557338"/>
          <a:ext cx="11403314" cy="2916720"/>
        </p:xfrm>
        <a:graphic>
          <a:graphicData uri="http://schemas.openxmlformats.org/drawingml/2006/table">
            <a:tbl>
              <a:tblPr firstRow="1" bandRow="1"/>
              <a:tblGrid>
                <a:gridCol w="2270879">
                  <a:extLst>
                    <a:ext uri="{9D8B030D-6E8A-4147-A177-3AD203B41FA5}">
                      <a16:colId xmlns:a16="http://schemas.microsoft.com/office/drawing/2014/main" val="1516306035"/>
                    </a:ext>
                  </a:extLst>
                </a:gridCol>
                <a:gridCol w="3044145">
                  <a:extLst>
                    <a:ext uri="{9D8B030D-6E8A-4147-A177-3AD203B41FA5}">
                      <a16:colId xmlns:a16="http://schemas.microsoft.com/office/drawing/2014/main" val="1561737959"/>
                    </a:ext>
                  </a:extLst>
                </a:gridCol>
                <a:gridCol w="3044145">
                  <a:extLst>
                    <a:ext uri="{9D8B030D-6E8A-4147-A177-3AD203B41FA5}">
                      <a16:colId xmlns:a16="http://schemas.microsoft.com/office/drawing/2014/main" val="2973476187"/>
                    </a:ext>
                  </a:extLst>
                </a:gridCol>
                <a:gridCol w="3044145">
                  <a:extLst>
                    <a:ext uri="{9D8B030D-6E8A-4147-A177-3AD203B41FA5}">
                      <a16:colId xmlns:a16="http://schemas.microsoft.com/office/drawing/2014/main" val="1927100388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rtl="0"/>
                      <a:r>
                        <a:rPr lang="en-US" sz="18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{column_1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2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3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4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647708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row_1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column_2_row_1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3_row_1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4_row_1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759342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row_2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2_row_2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3_row_2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4_row_2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5242133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row_3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2_row_3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3_row_3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4_row_3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7836325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row_4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2_row_4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3_row_4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4_row_4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938916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row_5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2_row_5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3_row_5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4_row_5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0177907"/>
                  </a:ext>
                </a:extLst>
              </a:tr>
            </a:tbl>
          </a:graphicData>
        </a:graphic>
      </p:graphicFrame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A2C72E71-9CB5-78C3-924D-03DFC14BE34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45392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ables, column</a:t>
            </a:r>
          </a:p>
        </p:txBody>
      </p:sp>
    </p:spTree>
    <p:extLst>
      <p:ext uri="{BB962C8B-B14F-4D97-AF65-F5344CB8AC3E}">
        <p14:creationId xmlns:p14="http://schemas.microsoft.com/office/powerpoint/2010/main" val="23862917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218</Words>
  <Application>Microsoft Office PowerPoint</Application>
  <PresentationFormat>宽屏</PresentationFormat>
  <Paragraphs>26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8T09:29:49Z</dcterms:created>
  <dcterms:modified xsi:type="dcterms:W3CDTF">2025-09-08T09:33:35Z</dcterms:modified>
</cp:coreProperties>
</file>